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16"/>
  </p:notesMasterIdLst>
  <p:handoutMasterIdLst>
    <p:handoutMasterId r:id="rId17"/>
  </p:handoutMasterIdLst>
  <p:sldIdLst>
    <p:sldId id="470" r:id="rId5"/>
    <p:sldId id="448" r:id="rId6"/>
    <p:sldId id="524" r:id="rId7"/>
    <p:sldId id="529" r:id="rId8"/>
    <p:sldId id="530" r:id="rId9"/>
    <p:sldId id="531" r:id="rId10"/>
    <p:sldId id="532" r:id="rId11"/>
    <p:sldId id="533" r:id="rId12"/>
    <p:sldId id="534" r:id="rId13"/>
    <p:sldId id="542" r:id="rId14"/>
    <p:sldId id="444" r:id="rId15"/>
  </p:sldIdLst>
  <p:sldSz cx="8961438" cy="6721475"/>
  <p:notesSz cx="6743700" cy="99060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115" d="100"/>
          <a:sy n="115" d="100"/>
        </p:scale>
        <p:origin x="-1218" y="-108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827827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7140416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42989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21563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573031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3883377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257315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70837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hyperlink" Target="http://www.getbootstrap.com" TargetMode="External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getbootstrap.com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taligarsiel.com/Projects/howbrowserswork1.htm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hyperlink" Target="http://domenlightenment.com/" TargetMode="External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hyperlink" Target="http://learn.shayhowe.com/html-css/getting-to-know-html/" TargetMode="Externa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learn.shayhowe.com/advanced-html-css/complex-selectors/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hyperlink" Target="http://learn.shayhowe.com/html-css/" TargetMode="External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learn.shayhowe.com/html-css/writing-your-best-code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learn.shayhowe.com/html-css/positioning-content/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hyperlink" Target="http://learn.shayhowe.com/html-css/opening-the-box-model/" TargetMode="External"/><Relationship Id="rId11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.gif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rgbClr val="1AB076"/>
                </a:solidFill>
                <a:latin typeface="Open Sans"/>
              </a:rPr>
              <a:t>BootStrap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 - CSS Responsive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Layout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320929" y="951891"/>
            <a:ext cx="90965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tstrap – responsive Layou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ap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view-port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ulti-device suppor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ase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tainers, rows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lum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04980" y="5957697"/>
            <a:ext cx="8570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hlinkClick r:id="rId6"/>
              </a:rPr>
              <a:t>http://www.getbootstrap.com</a:t>
            </a:r>
            <a:endParaRPr lang="en-US" sz="1400" dirty="0" smtClean="0"/>
          </a:p>
          <a:p>
            <a:pPr algn="ctr"/>
            <a:endParaRPr lang="en-US" sz="1400" dirty="0" smtClean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362" y="3411436"/>
            <a:ext cx="6967259" cy="247286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617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16190" y="951785"/>
            <a:ext cx="727904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S </a:t>
            </a:r>
            <a:r>
              <a:rPr lang="en-US" sz="1600" dirty="0" smtClean="0"/>
              <a:t>DOM/HTML: </a:t>
            </a:r>
            <a:r>
              <a:rPr lang="en-US" sz="1600" dirty="0" smtClean="0">
                <a:hlinkClick r:id="rId6"/>
              </a:rPr>
              <a:t>http://domenlightenment.com</a:t>
            </a:r>
            <a:r>
              <a:rPr lang="en-US" sz="1600" dirty="0" smtClean="0">
                <a:hlinkClick r:id="rId6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ow Browsers Work: </a:t>
            </a:r>
            <a:r>
              <a:rPr lang="en-US" sz="1600" dirty="0">
                <a:hlinkClick r:id="rId7"/>
              </a:rPr>
              <a:t>http://</a:t>
            </a:r>
            <a:r>
              <a:rPr lang="en-US" sz="1600" dirty="0" smtClean="0">
                <a:hlinkClick r:id="rId7"/>
              </a:rPr>
              <a:t>taligarsiel.com/Projects/howbrowserswork1.htm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ootstrap</a:t>
            </a:r>
            <a:r>
              <a:rPr lang="en-US" sz="1600" dirty="0" smtClean="0"/>
              <a:t>: </a:t>
            </a:r>
            <a:r>
              <a:rPr lang="en-US" sz="1600" dirty="0" smtClean="0">
                <a:hlinkClick r:id="rId8"/>
              </a:rPr>
              <a:t>http://getbootstrap.com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8364724" y="199511"/>
            <a:ext cx="51949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0" y="5212954"/>
            <a:ext cx="8958263" cy="1082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3017520" y="2136880"/>
            <a:ext cx="5643975" cy="18506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1998/2003 – ERP/PLM Architect 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the 1</a:t>
            </a:r>
            <a:r>
              <a:rPr lang="en-US" sz="1100" baseline="300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M Solution declared as “most innovate” by Gartner…</a:t>
            </a:r>
          </a:p>
          <a:p>
            <a:pPr lvl="0">
              <a:buClr>
                <a:srgbClr val="37515F"/>
              </a:buClr>
            </a:pPr>
            <a:endParaRPr lang="en-US" sz="1100" dirty="0" smtClean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03/2008 – U.S CRM C.O.O/C.T.O 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aged a Startup in San Francisco, moved Apps to the Cloud…</a:t>
            </a:r>
          </a:p>
          <a:p>
            <a:pPr lvl="0">
              <a:buClr>
                <a:srgbClr val="37515F"/>
              </a:buClr>
            </a:pPr>
            <a:endParaRPr lang="en-US" sz="1100" dirty="0" smtClean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>
              <a:buClr>
                <a:srgbClr val="37515F"/>
              </a:buClr>
            </a:pP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2008/Present – Net Us Up, </a:t>
            </a:r>
            <a:r>
              <a:rPr lang="en-US" sz="14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c</a:t>
            </a:r>
            <a:r>
              <a:rPr lang="en-US" sz="14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Mobile, USA), OWApps LTD</a:t>
            </a:r>
          </a:p>
          <a:p>
            <a:pPr lvl="0">
              <a:buClr>
                <a:srgbClr val="37515F"/>
              </a:buClr>
            </a:pP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velop 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ern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eb, 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bile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Hybrid-</a:t>
            </a:r>
            <a:r>
              <a:rPr lang="en-US" sz="1100" dirty="0" err="1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bile</a:t>
            </a:r>
            <a:r>
              <a:rPr lang="en-US" sz="11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pps with and for Enterprises</a:t>
            </a:r>
            <a:endParaRPr lang="en-US" sz="1100" dirty="0">
              <a:solidFill>
                <a:srgbClr val="1AB076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4358" y="1575188"/>
            <a:ext cx="2246305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>
                <a:srgbClr val="37515F"/>
              </a:buClr>
            </a:pPr>
            <a:r>
              <a:rPr lang="en-US" sz="165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onathan Wax</a:t>
            </a:r>
          </a:p>
          <a:p>
            <a:pPr lvl="0" algn="ctr">
              <a:buClr>
                <a:srgbClr val="37515F"/>
              </a:buClr>
            </a:pPr>
            <a:r>
              <a:rPr lang="en-US" sz="14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ftware Architect</a:t>
            </a:r>
            <a:endParaRPr lang="en-US" sz="1400" dirty="0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322540" y="5591092"/>
            <a:ext cx="8338955" cy="4875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7515F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In recent years,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rgbClr val="37515F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 working with many Enterprise customers on HTML5 Applic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7515F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01318" y="2390233"/>
            <a:ext cx="1399032" cy="1399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124131" y="110278"/>
            <a:ext cx="6410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0000"/>
                </a:solidFill>
                <a:latin typeface="Open Sans"/>
              </a:rPr>
              <a:t>Speaker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7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/CSS – Markup and Layout for the Web</a:t>
            </a:r>
            <a:endParaRPr lang="en-US" sz="24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HTML – a tree of Element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8883" y="1536169"/>
            <a:ext cx="3305175" cy="4086225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616918" y="5784308"/>
            <a:ext cx="467285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smtClean="0"/>
              <a:t>http://www.efishdesign.com/tutorials/javascript.php</a:t>
            </a:r>
            <a:endParaRPr lang="en-US" sz="1400"/>
          </a:p>
        </p:txBody>
      </p:sp>
      <p:sp>
        <p:nvSpPr>
          <p:cNvPr id="14" name="TextBox 13"/>
          <p:cNvSpPr txBox="1"/>
          <p:nvPr/>
        </p:nvSpPr>
        <p:spPr>
          <a:xfrm>
            <a:off x="-376450" y="1045892"/>
            <a:ext cx="53353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 is a tree of Elemen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rows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a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m in ord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v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il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 can have Attribut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ideo, audio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va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 fields (email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sto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762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HTML5 – Document Structure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2270" y="3682570"/>
            <a:ext cx="8700377" cy="255454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!DOCTYPE HTML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html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head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meta http-</a:t>
            </a:r>
            <a:r>
              <a:rPr lang="en-US" sz="16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equiv</a:t>
            </a:r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="Content-Type" content="text/html; charset=UTF-8" /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title&gt;Your Web App Title&lt;/title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/head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body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h1&gt;Hello&lt;/h1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/body&gt;</a:t>
            </a:r>
          </a:p>
          <a:p>
            <a:r>
              <a:rPr lang="en-US" sz="1600" b="0" i="0" dirty="0" smtClean="0">
                <a:solidFill>
                  <a:srgbClr val="FFFFFF"/>
                </a:solidFill>
                <a:effectLst/>
                <a:latin typeface="Source Code Pro"/>
              </a:rPr>
              <a:t>&lt;/html&gt;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376450" y="1045892"/>
            <a:ext cx="53353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C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html&gt; - the docum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head&gt; - title,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s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styles, meta tag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body&gt; - content of the pag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44566" y="3092505"/>
            <a:ext cx="46728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6"/>
              </a:rPr>
              <a:t>http://learn.shayhowe.com/html-css/getting-to-know-html/</a:t>
            </a:r>
            <a:endParaRPr lang="en-US" sz="1400" dirty="0" smtClean="0"/>
          </a:p>
          <a:p>
            <a:endParaRPr lang="en-US" sz="1400" dirty="0"/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HTML – a tree of node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03912" y="1127629"/>
            <a:ext cx="440391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lt;body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header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nav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    &lt;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ul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        &lt;li&gt;Your menu&lt;/li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    &lt;/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ul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/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nav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/header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section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article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    &lt;header&gt;my header&lt;/header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    &lt;p&gt;my content&lt;/p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/article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/section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aside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h2&gt;side bar header&lt;/h2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p&gt;side bar content&lt;/p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/aside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footer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    &lt;p&gt;Copyright 2015 Your name&lt;/p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   &lt;/footer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lt;/body&gt;</a:t>
            </a:r>
          </a:p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&lt;/html&gt;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body&gt; - content of the pag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ead of &lt;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iv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gt; for everything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header&gt;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footer&gt;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section&gt;, &lt;article&gt;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aside&gt;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tter for Accessibility (screen reader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ag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ttributes</a:t>
            </a:r>
          </a:p>
          <a:p>
            <a:pPr marL="2114550" lvl="4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47" y="5063610"/>
            <a:ext cx="4088279" cy="730577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16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CSS/Styles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– adding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layout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and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beauty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to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our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Element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s</a:t>
            </a:r>
            <a:endParaRPr lang="en-US" sz="1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line styl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Pag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y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SS/Styleshee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yles Hierarchy (last one win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bugging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yl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74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CSS Basic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25471" y="1029706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#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my-id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{…}            - id</a:t>
            </a:r>
          </a:p>
          <a:p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.my-class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 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{…}        - class</a:t>
            </a:r>
            <a:endParaRPr lang="en-US" sz="1400" b="0" i="0" dirty="0">
              <a:solidFill>
                <a:srgbClr val="FFFFFF"/>
              </a:solidFill>
              <a:effectLst/>
              <a:latin typeface="Source Code Pro"/>
            </a:endParaRPr>
          </a:p>
          <a:p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H1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{…}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                   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-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 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elemen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t</a:t>
            </a:r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lectors – getting an ele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5964173"/>
            <a:ext cx="4672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 smtClean="0">
                <a:hlinkClick r:id="rId6"/>
              </a:rPr>
              <a:t>http://learn.shayhowe.com/html-css/</a:t>
            </a:r>
            <a:endParaRPr lang="en-US" sz="1600" dirty="0" smtClean="0"/>
          </a:p>
          <a:p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332193" y="2594053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.my-class{</a:t>
            </a: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color: …;</a:t>
            </a:r>
          </a:p>
          <a:p>
            <a:r>
              <a:rPr lang="en-US" sz="1400" b="0" i="0" dirty="0">
                <a:solidFill>
                  <a:srgbClr val="1AB076"/>
                </a:solidFill>
                <a:effectLst/>
                <a:latin typeface="Source Code Pro"/>
              </a:rPr>
              <a:t>    </a:t>
            </a:r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font-size:</a:t>
            </a:r>
            <a:r>
              <a:rPr lang="en-US" sz="1400" b="0" i="0" dirty="0">
                <a:solidFill>
                  <a:srgbClr val="1AB076"/>
                </a:solidFill>
                <a:effectLst/>
                <a:latin typeface="Source Code Pro"/>
              </a:rPr>
              <a:t> </a:t>
            </a:r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…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;</a:t>
            </a:r>
            <a:endParaRPr lang="en-US" sz="1400" b="0" i="0" dirty="0" smtClean="0">
              <a:solidFill>
                <a:srgbClr val="1AB076"/>
              </a:solidFill>
              <a:effectLst/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}</a:t>
            </a:r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369728" y="2610239"/>
            <a:ext cx="4701921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 – what CSS will set/chang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38915" y="3710161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.my-class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color: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red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;</a:t>
            </a:r>
          </a:p>
          <a:p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    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font-size: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2.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5</a:t>
            </a:r>
            <a:r>
              <a:rPr lang="en-US" sz="1400" b="0" i="0" dirty="0" smtClean="0">
                <a:solidFill>
                  <a:srgbClr val="1AB076"/>
                </a:solidFill>
                <a:effectLst/>
                <a:latin typeface="Source Code Pro"/>
              </a:rPr>
              <a:t>em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;</a:t>
            </a:r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}</a:t>
            </a:r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363006" y="3726347"/>
            <a:ext cx="4701921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s – behavior of the properti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19367" y="1812308"/>
            <a:ext cx="628089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7"/>
              </a:rPr>
              <a:t>Advanced Selectors:</a:t>
            </a:r>
            <a:br>
              <a:rPr lang="en-US" sz="1400" dirty="0" smtClean="0">
                <a:hlinkClick r:id="rId7"/>
              </a:rPr>
            </a:br>
            <a:r>
              <a:rPr lang="en-US" sz="1400" dirty="0" smtClean="0">
                <a:hlinkClick r:id="rId7"/>
              </a:rPr>
              <a:t>http://learn.shayhowe.com/advanced-html-css/complex-selectors/</a:t>
            </a:r>
            <a:endParaRPr lang="en-US" sz="1400" dirty="0" smtClean="0"/>
          </a:p>
          <a:p>
            <a:endParaRPr lang="en-US" sz="1400" dirty="0"/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23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rgbClr val="1AB076"/>
                </a:solidFill>
                <a:latin typeface="Open Sans"/>
              </a:rPr>
              <a:t>CSS Layou</a:t>
            </a:r>
            <a:r>
              <a:rPr lang="en-US" sz="1800" dirty="0">
                <a:solidFill>
                  <a:srgbClr val="1AB076"/>
                </a:solidFill>
                <a:latin typeface="Open Sans"/>
              </a:rPr>
              <a:t>t</a:t>
            </a:r>
            <a:endParaRPr lang="en-US" sz="1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rgbClr val="1AB076"/>
                </a:solidFill>
                <a:latin typeface="Open Sans"/>
                <a:ea typeface="+mj-ea"/>
                <a:cs typeface="+mj-cs"/>
              </a:rPr>
              <a:t>HTML – Markup for the Web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rgbClr val="1AB076"/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1AB076"/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76450" y="1045892"/>
            <a:ext cx="47019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ing Model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line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lock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line-bloc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369728" y="2610239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ositioning Element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loats: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ft,righ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bsolute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lative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x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363006" y="4309055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tstrap – responsive Layout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ap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view-port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ulti-device suppor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19367" y="1812308"/>
            <a:ext cx="62808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6"/>
              </a:rPr>
              <a:t>http://learn.shayhowe.com/html-css/opening-the-box-model/</a:t>
            </a:r>
            <a:endParaRPr lang="en-US" sz="1400" dirty="0" smtClean="0"/>
          </a:p>
          <a:p>
            <a:endParaRPr lang="en-US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319367" y="3798202"/>
            <a:ext cx="46728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 smtClean="0">
                <a:hlinkClick r:id="rId7"/>
              </a:rPr>
              <a:t>http://learn.shayhowe.com/html-css/positioning-content/</a:t>
            </a:r>
            <a:endParaRPr lang="en-US" sz="1400" dirty="0" smtClean="0"/>
          </a:p>
          <a:p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204980" y="5957697"/>
            <a:ext cx="8570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hlinkClick r:id="rId8"/>
              </a:rPr>
              <a:t>BEST PRACTICES: http://learn.shayhowe.com/html-css/writing-your-best-code/</a:t>
            </a:r>
            <a:endParaRPr lang="en-US" sz="1400" dirty="0" smtClean="0"/>
          </a:p>
          <a:p>
            <a:pPr algn="ctr"/>
            <a:endParaRPr lang="en-US" sz="14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62644" y="130597"/>
            <a:ext cx="3581400" cy="24003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32826" y="2528394"/>
            <a:ext cx="3810000" cy="285750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349269" y="5297778"/>
            <a:ext cx="32081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 smtClean="0"/>
              <a:t>http://www.sellercore.com/blog/2014/08/understanding-css-positioning-absolute-relative-ebay-templates/</a:t>
            </a:r>
            <a:endParaRPr lang="en-US" sz="1000" dirty="0"/>
          </a:p>
        </p:txBody>
      </p:sp>
      <p:sp>
        <p:nvSpPr>
          <p:cNvPr id="25" name="Rectangle 2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58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17</TotalTime>
  <Words>687</Words>
  <Application>Microsoft Office PowerPoint</Application>
  <PresentationFormat>Custom</PresentationFormat>
  <Paragraphs>165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14</cp:revision>
  <cp:lastPrinted>2008-09-19T11:06:26Z</cp:lastPrinted>
  <dcterms:created xsi:type="dcterms:W3CDTF">2010-01-27T21:29:29Z</dcterms:created>
  <dcterms:modified xsi:type="dcterms:W3CDTF">2015-10-28T13:0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